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3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0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16" userDrawn="1">
          <p15:clr>
            <a:srgbClr val="A4A3A4"/>
          </p15:clr>
        </p15:guide>
        <p15:guide id="7" orient="horz" pos="377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E5E5E5"/>
    <a:srgbClr val="C60018"/>
    <a:srgbClr val="8D8D8D"/>
    <a:srgbClr val="BDBDBD"/>
    <a:srgbClr val="A20013"/>
    <a:srgbClr val="EB0000"/>
    <a:srgbClr val="444444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1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1291" y="86"/>
      </p:cViewPr>
      <p:guideLst>
        <p:guide orient="horz" pos="3810"/>
        <p:guide pos="937"/>
        <p:guide pos="6743"/>
        <p:guide orient="horz" pos="1185"/>
        <p:guide pos="7333"/>
        <p:guide orient="horz" pos="3716"/>
        <p:guide orient="horz" pos="377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custSel modSld">
      <pc:chgData name="Weigel Stefan (PAR-EPS)" userId="fd3b2067-2981-4ad8-bf3a-d2e1004e4fa8" providerId="ADAL" clId="{A4CFA2F4-FF8D-446B-B271-6DF568DBEADA}" dt="2026-02-12T15:19:11.369" v="30" actId="27918"/>
      <pc:docMkLst>
        <pc:docMk/>
      </pc:docMkLst>
      <pc:sldChg chg="delSp modSp mod">
        <pc:chgData name="Weigel Stefan (PAR-EPS)" userId="fd3b2067-2981-4ad8-bf3a-d2e1004e4fa8" providerId="ADAL" clId="{A4CFA2F4-FF8D-446B-B271-6DF568DBEADA}" dt="2026-02-12T15:19:11.369" v="30" actId="27918"/>
        <pc:sldMkLst>
          <pc:docMk/>
          <pc:sldMk cId="3064315074" sldId="413"/>
        </pc:sldMkLst>
        <pc:spChg chg="mod">
          <ac:chgData name="Weigel Stefan (PAR-EPS)" userId="fd3b2067-2981-4ad8-bf3a-d2e1004e4fa8" providerId="ADAL" clId="{A4CFA2F4-FF8D-446B-B271-6DF568DBEADA}" dt="2026-01-23T15:16:35.796" v="1" actId="20577"/>
          <ac:spMkLst>
            <pc:docMk/>
            <pc:sldMk cId="3064315074" sldId="413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A4CFA2F4-FF8D-446B-B271-6DF568DBEADA}" dt="2026-01-23T15:16:44.477" v="3"/>
          <ac:spMkLst>
            <pc:docMk/>
            <pc:sldMk cId="3064315074" sldId="413"/>
            <ac:spMk id="11" creationId="{51A102DA-4F4E-474F-9E16-1E7F70764A16}"/>
          </ac:spMkLst>
        </pc:spChg>
        <pc:graphicFrameChg chg="mod">
          <ac:chgData name="Weigel Stefan (PAR-EPS)" userId="fd3b2067-2981-4ad8-bf3a-d2e1004e4fa8" providerId="ADAL" clId="{A4CFA2F4-FF8D-446B-B271-6DF568DBEADA}" dt="2026-01-23T15:18:58.164" v="26" actId="207"/>
          <ac:graphicFrameMkLst>
            <pc:docMk/>
            <pc:sldMk cId="3064315074" sldId="413"/>
            <ac:graphicFrameMk id="9" creationId="{00000000-0000-0000-0000-000000000000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405314246640004"/>
          <c:y val="7.3385318018543436E-2"/>
          <c:w val="0.6627477512207226"/>
          <c:h val="0.74635919815739304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M$2</c:f>
              <c:strCache>
                <c:ptCount val="1"/>
                <c:pt idx="0">
                  <c:v>Treni viaggiatori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invertIfNegative val="0"/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DBF1-4D28-9DD1-CD364BE911F1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290F-44EF-8F7B-E7CE5373CDB3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119E-497F-A34D-97238F57BACC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4E84-4ADB-9AD5-F422403FAF78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290F-44EF-8F7B-E7CE5373CDB3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119E-497F-A34D-97238F57BACC}"/>
              </c:ext>
            </c:extLst>
          </c:dPt>
          <c:cat>
            <c:strRef>
              <c:f>data!$L$3:$L$16</c:f>
              <c:strCache>
                <c:ptCount val="14"/>
                <c:pt idx="0">
                  <c:v>OSE (GR)</c:v>
                </c:pt>
                <c:pt idx="1">
                  <c:v>CFR Infrastructură (RO)</c:v>
                </c:pt>
                <c:pt idx="2">
                  <c:v>FTA (FI)</c:v>
                </c:pt>
                <c:pt idx="3">
                  <c:v>ADIF (ES)</c:v>
                </c:pt>
                <c:pt idx="4">
                  <c:v>PKP (PL)</c:v>
                </c:pt>
                <c:pt idx="5">
                  <c:v>SNCF Réseau (FR)</c:v>
                </c:pt>
                <c:pt idx="6">
                  <c:v>Trafikverket (SE)</c:v>
                </c:pt>
                <c:pt idx="7">
                  <c:v>SZDC (CZ)</c:v>
                </c:pt>
                <c:pt idx="8">
                  <c:v>FS (IT)</c:v>
                </c:pt>
                <c:pt idx="9">
                  <c:v>Infrabel (BE)</c:v>
                </c:pt>
                <c:pt idx="10">
                  <c:v>ÖBB (AT)</c:v>
                </c:pt>
                <c:pt idx="11">
                  <c:v>DB AG (DE)</c:v>
                </c:pt>
                <c:pt idx="12">
                  <c:v>ProRail (NL)</c:v>
                </c:pt>
                <c:pt idx="13">
                  <c:v>FFS (CH)</c:v>
                </c:pt>
              </c:strCache>
            </c:strRef>
          </c:cat>
          <c:val>
            <c:numRef>
              <c:f>data!$M$3:$M$16</c:f>
              <c:numCache>
                <c:formatCode>0.00</c:formatCode>
                <c:ptCount val="14"/>
                <c:pt idx="0">
                  <c:v>11.252081492302199</c:v>
                </c:pt>
                <c:pt idx="1">
                  <c:v>16.719168403461101</c:v>
                </c:pt>
                <c:pt idx="2">
                  <c:v>16.560656661539401</c:v>
                </c:pt>
                <c:pt idx="3">
                  <c:v>31.442144743295099</c:v>
                </c:pt>
                <c:pt idx="4">
                  <c:v>29.2914167312363</c:v>
                </c:pt>
                <c:pt idx="5">
                  <c:v>38.068289116684703</c:v>
                </c:pt>
                <c:pt idx="6">
                  <c:v>34.669383139846602</c:v>
                </c:pt>
                <c:pt idx="7">
                  <c:v>41.6557803733429</c:v>
                </c:pt>
                <c:pt idx="8">
                  <c:v>51.269371444093601</c:v>
                </c:pt>
                <c:pt idx="9">
                  <c:v>63.044588939120999</c:v>
                </c:pt>
                <c:pt idx="10">
                  <c:v>67.679849808449106</c:v>
                </c:pt>
                <c:pt idx="11">
                  <c:v>69.207671492607304</c:v>
                </c:pt>
                <c:pt idx="12">
                  <c:v>127.374980292171</c:v>
                </c:pt>
                <c:pt idx="13">
                  <c:v>139.4562960602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19E-497F-A34D-97238F57BACC}"/>
            </c:ext>
          </c:extLst>
        </c:ser>
        <c:ser>
          <c:idx val="1"/>
          <c:order val="1"/>
          <c:tx>
            <c:strRef>
              <c:f>data!$N$2</c:f>
              <c:strCache>
                <c:ptCount val="1"/>
                <c:pt idx="0">
                  <c:v>Treni merci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4E84-4ADB-9AD5-F422403FAF78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7-290F-44EF-8F7B-E7CE5373CDB3}"/>
              </c:ext>
            </c:extLst>
          </c:dPt>
          <c:cat>
            <c:strRef>
              <c:f>data!$L$3:$L$16</c:f>
              <c:strCache>
                <c:ptCount val="14"/>
                <c:pt idx="0">
                  <c:v>OSE (GR)</c:v>
                </c:pt>
                <c:pt idx="1">
                  <c:v>CFR Infrastructură (RO)</c:v>
                </c:pt>
                <c:pt idx="2">
                  <c:v>FTA (FI)</c:v>
                </c:pt>
                <c:pt idx="3">
                  <c:v>ADIF (ES)</c:v>
                </c:pt>
                <c:pt idx="4">
                  <c:v>PKP (PL)</c:v>
                </c:pt>
                <c:pt idx="5">
                  <c:v>SNCF Réseau (FR)</c:v>
                </c:pt>
                <c:pt idx="6">
                  <c:v>Trafikverket (SE)</c:v>
                </c:pt>
                <c:pt idx="7">
                  <c:v>SZDC (CZ)</c:v>
                </c:pt>
                <c:pt idx="8">
                  <c:v>FS (IT)</c:v>
                </c:pt>
                <c:pt idx="9">
                  <c:v>Infrabel (BE)</c:v>
                </c:pt>
                <c:pt idx="10">
                  <c:v>ÖBB (AT)</c:v>
                </c:pt>
                <c:pt idx="11">
                  <c:v>DB AG (DE)</c:v>
                </c:pt>
                <c:pt idx="12">
                  <c:v>ProRail (NL)</c:v>
                </c:pt>
                <c:pt idx="13">
                  <c:v>FFS (CH)</c:v>
                </c:pt>
              </c:strCache>
            </c:strRef>
          </c:cat>
          <c:val>
            <c:numRef>
              <c:f>data!$N$3:$N$16</c:f>
              <c:numCache>
                <c:formatCode>0.00</c:formatCode>
                <c:ptCount val="14"/>
                <c:pt idx="0">
                  <c:v>1.1271618965175201</c:v>
                </c:pt>
                <c:pt idx="1">
                  <c:v>5.6141799856754799</c:v>
                </c:pt>
                <c:pt idx="2">
                  <c:v>5.8714299571802702</c:v>
                </c:pt>
                <c:pt idx="3">
                  <c:v>4.3077073439760696</c:v>
                </c:pt>
                <c:pt idx="4">
                  <c:v>11.5074770233525</c:v>
                </c:pt>
                <c:pt idx="5">
                  <c:v>6.7179333735325901</c:v>
                </c:pt>
                <c:pt idx="6">
                  <c:v>10.446652611283</c:v>
                </c:pt>
                <c:pt idx="7">
                  <c:v>9.9496337237202006</c:v>
                </c:pt>
                <c:pt idx="8">
                  <c:v>8.0561312311801903</c:v>
                </c:pt>
                <c:pt idx="9">
                  <c:v>6.9465499091667899</c:v>
                </c:pt>
                <c:pt idx="10">
                  <c:v>21.833966028309</c:v>
                </c:pt>
                <c:pt idx="11">
                  <c:v>20.801279822619001</c:v>
                </c:pt>
                <c:pt idx="12">
                  <c:v>9.5943718946092904</c:v>
                </c:pt>
                <c:pt idx="13">
                  <c:v>22.5053263993708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19E-497F-A34D-97238F57BA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59135488"/>
        <c:axId val="59112832"/>
      </c:barChart>
      <c:valAx>
        <c:axId val="59112832"/>
        <c:scaling>
          <c:orientation val="minMax"/>
          <c:max val="200"/>
        </c:scaling>
        <c:delete val="0"/>
        <c:axPos val="b"/>
        <c:majorGridlines>
          <c:spPr>
            <a:ln>
              <a:solidFill>
                <a:schemeClr val="accent5"/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59135488"/>
        <c:crosses val="autoZero"/>
        <c:crossBetween val="between"/>
        <c:majorUnit val="50"/>
      </c:valAx>
      <c:catAx>
        <c:axId val="591354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>
            <a:solidFill>
              <a:schemeClr val="tx2"/>
            </a:solidFill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59112832"/>
        <c:crosses val="autoZero"/>
        <c:auto val="0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0.18638312256516215"/>
          <c:y val="0.88185825591518729"/>
          <c:w val="0.27623831443418145"/>
          <c:h val="5.4723184121952026E-2"/>
        </c:manualLayout>
      </c:layout>
      <c:overlay val="0"/>
      <c:txPr>
        <a:bodyPr/>
        <a:lstStyle/>
        <a:p>
          <a:pPr>
            <a:defRPr sz="1100">
              <a:solidFill>
                <a:schemeClr val="tx2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4564</cdr:x>
      <cdr:y>0.0141</cdr:y>
    </cdr:from>
    <cdr:to>
      <cdr:x>0.94931</cdr:x>
      <cdr:y>0.06743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10046768" y="63972"/>
          <a:ext cx="1231675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it-CH" sz="1100" noProof="0" dirty="0">
              <a:solidFill>
                <a:schemeClr val="tx2"/>
              </a:solidFill>
            </a:rPr>
            <a:t>Frequenza dei treni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77BD3A32-863E-497D-9FA4-FE04E53F3B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59" progId="TCLayout.ActiveDocument.1">
                  <p:embed/>
                </p:oleObj>
              </mc:Choice>
              <mc:Fallback>
                <p:oleObj name="think-cell Folie" r:id="rId5" imgW="360" imgH="359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77BD3A32-863E-497D-9FA4-FE04E53F3B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4EFEE514-0EE2-4596-96E1-488544687B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Sfruttamento della rete in Europa nel 2024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464471401"/>
              </p:ext>
            </p:extLst>
          </p:nvPr>
        </p:nvGraphicFramePr>
        <p:xfrm>
          <a:off x="1" y="1583795"/>
          <a:ext cx="11880668" cy="4537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51A102DA-4F4E-474F-9E16-1E7F70764A16}"/>
              </a:ext>
            </a:extLst>
          </p:cNvPr>
          <p:cNvSpPr txBox="1"/>
          <p:nvPr/>
        </p:nvSpPr>
        <p:spPr>
          <a:xfrm rot="16200000">
            <a:off x="9605908" y="3946970"/>
            <a:ext cx="3947678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lvl="0">
              <a:defRPr/>
            </a:pPr>
            <a:r>
              <a:rPr kumimoji="0" lang="de-CH" sz="900" b="0" i="0" u="none" strike="noStrike" kern="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Fonte</a:t>
            </a:r>
            <a:r>
              <a:rPr kumimoji="0" lang="de-CH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: UIC, </a:t>
            </a:r>
            <a:r>
              <a:rPr kumimoji="0" lang="de-CH" sz="900" b="0" i="0" u="none" strike="noStrike" kern="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ProRail</a:t>
            </a:r>
            <a:r>
              <a:rPr kumimoji="0" lang="de-CH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. </a:t>
            </a:r>
            <a:r>
              <a:rPr lang="fr-FR" sz="900" kern="0" dirty="0">
                <a:solidFill>
                  <a:schemeClr val="tx2"/>
                </a:solidFill>
              </a:rPr>
              <a:t>CFR </a:t>
            </a:r>
            <a:r>
              <a:rPr lang="fr-FR" sz="900" kern="0" dirty="0" err="1">
                <a:solidFill>
                  <a:schemeClr val="tx2"/>
                </a:solidFill>
              </a:rPr>
              <a:t>Infrastructură</a:t>
            </a:r>
            <a:r>
              <a:rPr lang="fr-FR" sz="900" kern="0" dirty="0">
                <a:solidFill>
                  <a:schemeClr val="tx2"/>
                </a:solidFill>
              </a:rPr>
              <a:t>, SNCF Réseau, </a:t>
            </a:r>
            <a:r>
              <a:rPr lang="fr-FR" sz="900" kern="0" dirty="0" err="1">
                <a:solidFill>
                  <a:schemeClr val="tx2"/>
                </a:solidFill>
              </a:rPr>
              <a:t>Infrabel</a:t>
            </a:r>
            <a:r>
              <a:rPr lang="fr-FR" sz="900" kern="0" dirty="0">
                <a:solidFill>
                  <a:schemeClr val="tx2"/>
                </a:solidFill>
              </a:rPr>
              <a:t>, </a:t>
            </a:r>
            <a:r>
              <a:rPr lang="fr-FR" sz="900" kern="0" dirty="0" err="1">
                <a:solidFill>
                  <a:schemeClr val="tx2"/>
                </a:solidFill>
              </a:rPr>
              <a:t>ProRail</a:t>
            </a:r>
            <a:r>
              <a:rPr lang="fr-FR" sz="900" kern="0" dirty="0">
                <a:solidFill>
                  <a:schemeClr val="tx2"/>
                </a:solidFill>
              </a:rPr>
              <a:t>: 2023.</a:t>
            </a:r>
            <a:endParaRPr kumimoji="0" lang="de-CH" sz="9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BB Light"/>
              <a:ea typeface="+mn-ea"/>
              <a:cs typeface="+mn-cs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00D4BB6A-0DD0-4B80-9845-0467B947A6BE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Numero medio di treni per giorno e tratta sull’infrastruttura ferroviaria.</a:t>
            </a: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CB2EBD8C-0882-42C3-B5F5-BA01B7BFF2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0119" y="5869580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0643150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ZMyL6UQqm685QJIi11wg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purl.org/dc/elements/1.1/"/>
    <ds:schemaRef ds:uri="2f5c8543-cf23-4718-a3b8-32b0a91d511a"/>
    <ds:schemaRef ds:uri="96e82a89-ba48-4728-b345-cf206dbec8f1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6435D66-1E51-4657-8A4E-B837A5F6FEC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9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Sfruttamento della rete in Europa nel 2024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fruttamento della rete in Europa nel 2022.</dc:title>
  <dc:creator>Meyer Raphael (KOM-PGA-VSF)</dc:creator>
  <cp:lastModifiedBy>Weigel Stefan (PAR-EPS)</cp:lastModifiedBy>
  <cp:revision>24</cp:revision>
  <dcterms:created xsi:type="dcterms:W3CDTF">2020-09-30T11:00:09Z</dcterms:created>
  <dcterms:modified xsi:type="dcterms:W3CDTF">2026-03-03T13:50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